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528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57" d="100"/>
          <a:sy n="57" d="100"/>
        </p:scale>
        <p:origin x="52" y="6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CD7ABD-D5C7-824D-9E5D-F69AAF8A0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52461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1941" y="2109538"/>
            <a:ext cx="10368119" cy="2173705"/>
          </a:xfrm>
        </p:spPr>
        <p:txBody>
          <a:bodyPr/>
          <a:lstStyle>
            <a:lvl1pPr algn="ctr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E6471-58CC-EF41-B9A4-4BD5504A1A86}"/>
              </a:ext>
            </a:extLst>
          </p:cNvPr>
          <p:cNvCxnSpPr/>
          <p:nvPr userDrawn="1"/>
        </p:nvCxnSpPr>
        <p:spPr>
          <a:xfrm>
            <a:off x="0" y="558513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8B55F2-CA18-FA43-BA22-1EEAB0D987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941" y="3441424"/>
            <a:ext cx="10368119" cy="679450"/>
          </a:xfrm>
        </p:spPr>
        <p:txBody>
          <a:bodyPr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A348EC-22F2-7042-B3BA-0C32E9F954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26" y="5979950"/>
            <a:ext cx="3068149" cy="47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8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9F2DCED-7556-2A4E-9EF9-783486CA3B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8333" y="316800"/>
            <a:ext cx="3844800" cy="6177454"/>
          </a:xfrm>
          <a:solidFill>
            <a:schemeClr val="bg1">
              <a:alpha val="50000"/>
            </a:schemeClr>
          </a:solidFill>
        </p:spPr>
        <p:txBody>
          <a:bodyPr lIns="432000" tIns="612000" anchor="t"/>
          <a:lstStyle>
            <a:lvl1pPr>
              <a:lnSpc>
                <a:spcPct val="10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021" y="2907324"/>
            <a:ext cx="3317847" cy="3261069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499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379087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248958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59098D-E50B-F343-BAAE-29C70A79EF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4109" y="6304290"/>
            <a:ext cx="1312211" cy="201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39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4CAFFA-21DC-BD43-879C-D4C2D0EC4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" t="6093" r="766" b="10350"/>
          <a:stretch/>
        </p:blipFill>
        <p:spPr>
          <a:xfrm>
            <a:off x="2" y="9036"/>
            <a:ext cx="12191999" cy="6875585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379087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248958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59098D-E50B-F343-BAAE-29C70A79EF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0054" y="6231558"/>
            <a:ext cx="2260319" cy="34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46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CD7ABD-D5C7-824D-9E5D-F69AAF8A0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1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E6471-58CC-EF41-B9A4-4BD5504A1A86}"/>
              </a:ext>
            </a:extLst>
          </p:cNvPr>
          <p:cNvCxnSpPr/>
          <p:nvPr userDrawn="1"/>
        </p:nvCxnSpPr>
        <p:spPr>
          <a:xfrm>
            <a:off x="0" y="558513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8B55F2-CA18-FA43-BA22-1EEAB0D987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941" y="3441424"/>
            <a:ext cx="10368119" cy="679450"/>
          </a:xfrm>
        </p:spPr>
        <p:txBody>
          <a:bodyPr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A348EC-22F2-7042-B3BA-0C32E9F954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26" y="5979950"/>
            <a:ext cx="3068149" cy="470744"/>
          </a:xfrm>
          <a:prstGeom prst="rect">
            <a:avLst/>
          </a:prstGeom>
        </p:spPr>
      </p:pic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A97CEDEC-E9C5-3A42-A0A9-0638E1BBAF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48000" y="1"/>
            <a:ext cx="3048000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B794DD4-1565-2E4C-9EFF-70455656D6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2759239"/>
            <a:ext cx="3047999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FA5C9760-10B1-B144-8E71-9408DE739E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8001" y="2759239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CD5BC110-8FDB-6E45-939D-E92CA68892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1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B6C6BC52-890B-1041-8AE5-6F75442C54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3997" y="1"/>
            <a:ext cx="3048000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B7C65572-DC29-8748-A4AE-85D0AC7561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5999" y="2759239"/>
            <a:ext cx="3047999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B9F065D2-6F49-9040-AAE1-81042933D72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3999" y="2759239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1941" y="2109538"/>
            <a:ext cx="10368119" cy="2173705"/>
          </a:xfrm>
        </p:spPr>
        <p:txBody>
          <a:bodyPr/>
          <a:lstStyle>
            <a:lvl1pPr algn="ctr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80055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A11B0C-2910-E743-9BC0-D40FE94FF0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3591" y="3176221"/>
            <a:ext cx="3600684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34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7200F-30E9-D09D-E03B-DC943171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9D573-4CA7-C5CB-9EA0-CDBD3C9AE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2ABE8-34D7-72DB-A169-0C980A17D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561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E73C49F4-150C-4502-812F-4AD3DE70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5935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x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914402"/>
            <a:ext cx="12192000" cy="59435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" y="162416"/>
            <a:ext cx="12191999" cy="879561"/>
          </a:xfrm>
        </p:spPr>
        <p:txBody>
          <a:bodyPr anchor="ctr"/>
          <a:lstStyle>
            <a:lvl1pPr algn="ctr" defTabSz="45715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971550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E2BDCA-F7B2-7040-9E90-6E1C4E99C9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3703" y="1517651"/>
            <a:ext cx="9144595" cy="4575174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62873" y="1386715"/>
            <a:ext cx="4066252" cy="260916"/>
          </a:xfrm>
          <a:solidFill>
            <a:schemeClr val="bg1"/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FE2F2967-BF52-9043-953F-657C5A8452AB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818980" y="1769166"/>
            <a:ext cx="8538545" cy="4025348"/>
          </a:xfrm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F9E3D138-90E0-4F0A-BA70-A3192070FC18}"/>
              </a:ext>
            </a:extLst>
          </p:cNvPr>
          <p:cNvSpPr txBox="1">
            <a:spLocks/>
          </p:cNvSpPr>
          <p:nvPr userDrawn="1"/>
        </p:nvSpPr>
        <p:spPr>
          <a:xfrm>
            <a:off x="5562566" y="6611725"/>
            <a:ext cx="1066869" cy="1825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NL" sz="1200">
              <a:latin typeface="HelveticaNeueLT Pro 53 Ex" panose="020B0605020202020204" pitchFamily="34" charset="0"/>
            </a:endParaRP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B2C2AB95-2922-488E-A747-EED7157CF5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8757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ks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85313D0-F2E7-614F-B102-F4D8C52F0C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6833" y="2267518"/>
            <a:ext cx="5111533" cy="2633304"/>
          </a:xfrm>
          <a:solidFill>
            <a:schemeClr val="tx2"/>
          </a:solidFill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6833" y="5001366"/>
            <a:ext cx="5111533" cy="1284257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CC5504FD-5A3E-904C-B249-0200824D3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3637" y="2250831"/>
            <a:ext cx="5111533" cy="2633304"/>
          </a:xfrm>
          <a:solidFill>
            <a:schemeClr val="tx2"/>
          </a:solidFill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95D8A3A-C851-F447-BB00-182500F23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13637" y="5001366"/>
            <a:ext cx="5111533" cy="1284257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jdelijke aanduiding voor dianummer 3">
            <a:extLst>
              <a:ext uri="{FF2B5EF4-FFF2-40B4-BE49-F238E27FC236}">
                <a16:creationId xmlns:a16="http://schemas.microsoft.com/office/drawing/2014/main" id="{7D536545-DF34-479D-B7D5-9728F9EB80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8678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rgbClr val="C4CE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2D51F5-E5D6-D546-9B36-225D5BAEC9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616670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103065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6295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5BDDFFB-32D0-5E47-8A8B-BF1B43DB5625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tx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solidFill>
                  <a:schemeClr val="bg1"/>
                </a:solidFill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ctr"/>
          <a:lstStyle>
            <a:lvl1pPr algn="ctr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620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>
            <a:off x="3727658" y="0"/>
            <a:ext cx="8464343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8333" y="316800"/>
            <a:ext cx="3228120" cy="6206400"/>
          </a:xfrm>
        </p:spPr>
        <p:txBody>
          <a:bodyPr/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>
            <a:off x="3775497" y="0"/>
            <a:ext cx="0" cy="685800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339" y="520700"/>
            <a:ext cx="6121798" cy="5647692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4F4BE738-F6D6-4FF3-AB31-E3E203017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9911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5F0728F-4F28-A74B-9021-92411B659F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033" t="9281" r="42494" b="1717"/>
          <a:stretch/>
        </p:blipFill>
        <p:spPr>
          <a:xfrm>
            <a:off x="0" y="0"/>
            <a:ext cx="4125294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>
            <a:off x="4145128" y="0"/>
            <a:ext cx="8046872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8333" y="316800"/>
            <a:ext cx="3844800" cy="6206400"/>
          </a:xfrm>
        </p:spPr>
        <p:txBody>
          <a:bodyPr/>
          <a:lstStyle>
            <a:lvl1pPr>
              <a:lnSpc>
                <a:spcPct val="10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>
            <a:off x="4192967" y="0"/>
            <a:ext cx="0" cy="685800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339" y="520700"/>
            <a:ext cx="6121798" cy="5647692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61A676DF-DD9E-411E-AD0C-EAE2AB62D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526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9F2DCED-7556-2A4E-9EF9-783486CA3B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3472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47200" y="316800"/>
            <a:ext cx="3844800" cy="6177454"/>
          </a:xfrm>
          <a:noFill/>
        </p:spPr>
        <p:txBody>
          <a:bodyPr lIns="432000" tIns="612000" anchor="t"/>
          <a:lstStyle>
            <a:lvl1pPr>
              <a:lnSpc>
                <a:spcPct val="10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9888" y="2907324"/>
            <a:ext cx="3317847" cy="3261069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469F2922-F106-47DD-9F4C-F87C22B2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1189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6517238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B64ED4-466B-47D2-A9FE-A7B7F926513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1"/>
            <a:ext cx="79380" cy="79375"/>
          </a:xfrm>
          <a:prstGeom prst="rect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4400" b="0" i="0" baseline="0">
              <a:latin typeface="Adobe Caslon Pro Bold" panose="0205050205050A020403" pitchFamily="18" charset="0"/>
              <a:ea typeface="+mj-ea"/>
              <a:cs typeface="+mj-cs"/>
              <a:sym typeface="Adobe Caslon Pro" panose="0205050205050A020403" pitchFamily="18" charset="0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932803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154" rtl="0" eaLnBrk="1" latinLnBrk="0" hangingPunct="1">
        <a:spcBef>
          <a:spcPct val="0"/>
        </a:spcBef>
        <a:buNone/>
        <a:defRPr sz="4400" kern="1200" cap="all" baseline="0">
          <a:solidFill>
            <a:srgbClr val="000032"/>
          </a:solidFill>
          <a:latin typeface="Adobe Caslon Pro Bold" panose="0205050205050A020403" pitchFamily="18" charset="77"/>
          <a:ea typeface="+mj-ea"/>
          <a:cs typeface="+mj-cs"/>
        </a:defRPr>
      </a:lvl1pPr>
    </p:titleStyle>
    <p:bodyStyle>
      <a:lvl1pPr marL="0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1pPr>
      <a:lvl2pPr marL="457154" indent="0" algn="l" defTabSz="457154" rtl="0" eaLnBrk="1" latinLnBrk="0" hangingPunct="1">
        <a:spcBef>
          <a:spcPct val="20000"/>
        </a:spcBef>
        <a:buFont typeface="Arial"/>
        <a:buNone/>
        <a:defRPr sz="28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2pPr>
      <a:lvl3pPr marL="914310" indent="0" algn="l" defTabSz="457154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3pPr>
      <a:lvl4pPr marL="1371464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4pPr>
      <a:lvl5pPr marL="1828618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B5FD99-EF07-EDDC-2745-95C6268E55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E9BC8E-AA5A-814A-112F-44D92FD58C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083" r="26500"/>
          <a:stretch/>
        </p:blipFill>
        <p:spPr>
          <a:xfrm>
            <a:off x="398" y="224"/>
            <a:ext cx="12177196" cy="6857554"/>
          </a:xfrm>
          <a:prstGeom prst="rect">
            <a:avLst/>
          </a:prstGeom>
        </p:spPr>
      </p:pic>
      <p:pic>
        <p:nvPicPr>
          <p:cNvPr id="16" name="Picture 15" descr="A yellow text on a black background&#10;&#10;Description automatically generated">
            <a:extLst>
              <a:ext uri="{FF2B5EF4-FFF2-40B4-BE49-F238E27FC236}">
                <a16:creationId xmlns:a16="http://schemas.microsoft.com/office/drawing/2014/main" id="{80583976-C0BF-A3D5-0BA4-8FBDCB5275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6492" y="-83053"/>
            <a:ext cx="1915112" cy="1054125"/>
          </a:xfrm>
          <a:prstGeom prst="rect">
            <a:avLst/>
          </a:prstGeom>
        </p:spPr>
      </p:pic>
      <p:sp>
        <p:nvSpPr>
          <p:cNvPr id="5" name="Arrow: Chevron 4">
            <a:extLst>
              <a:ext uri="{FF2B5EF4-FFF2-40B4-BE49-F238E27FC236}">
                <a16:creationId xmlns:a16="http://schemas.microsoft.com/office/drawing/2014/main" id="{33AECEA5-251C-3AF5-8405-E0B7B28A0EA4}"/>
              </a:ext>
            </a:extLst>
          </p:cNvPr>
          <p:cNvSpPr/>
          <p:nvPr/>
        </p:nvSpPr>
        <p:spPr>
          <a:xfrm>
            <a:off x="74935" y="113418"/>
            <a:ext cx="3207400" cy="910379"/>
          </a:xfrm>
          <a:prstGeom prst="chevron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>
              <a:defRPr/>
            </a:pP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1D58F4-07A8-6AA8-26C5-B72C361B712E}"/>
              </a:ext>
            </a:extLst>
          </p:cNvPr>
          <p:cNvSpPr txBox="1"/>
          <p:nvPr/>
        </p:nvSpPr>
        <p:spPr>
          <a:xfrm>
            <a:off x="306461" y="126329"/>
            <a:ext cx="2783140" cy="1708160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spAutoFit/>
          </a:bodyPr>
          <a:lstStyle/>
          <a:p>
            <a:pPr algn="ctr" defTabSz="457177">
              <a:defRPr/>
            </a:pPr>
            <a:r>
              <a:rPr lang="en-US" sz="3000" b="1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TRIAL</a:t>
            </a:r>
            <a:endParaRPr lang="en-US" sz="2400" b="1">
              <a:solidFill>
                <a:srgbClr val="FFFFFF"/>
              </a:solidFill>
              <a:latin typeface="Aptos"/>
              <a:ea typeface="Calibri"/>
              <a:cs typeface="Calibri"/>
            </a:endParaRPr>
          </a:p>
          <a:p>
            <a:pPr algn="ctr" defTabSz="457177">
              <a:defRPr/>
            </a:pPr>
            <a:r>
              <a:rPr lang="en-US" sz="2400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ON PREMISE</a:t>
            </a:r>
          </a:p>
          <a:p>
            <a:pPr marL="285750" indent="-285750" algn="ctr" defTabSz="457177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  <a:p>
            <a:pPr marL="285750" indent="-285750" algn="ctr" defTabSz="457177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EE9C945-48F2-840E-8640-54B20A46D164}"/>
              </a:ext>
            </a:extLst>
          </p:cNvPr>
          <p:cNvSpPr txBox="1"/>
          <p:nvPr/>
        </p:nvSpPr>
        <p:spPr>
          <a:xfrm>
            <a:off x="3648533" y="185772"/>
            <a:ext cx="6748622" cy="9103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0" tIns="0" rIns="0" bIns="0">
            <a:noAutofit/>
          </a:bodyPr>
          <a:lstStyle/>
          <a:p>
            <a:pPr algn="ctr" defTabSz="914355">
              <a:defRPr/>
            </a:pPr>
            <a:r>
              <a:rPr lang="en-US" sz="4000">
                <a:solidFill>
                  <a:srgbClr val="4472C4">
                    <a:lumMod val="50000"/>
                  </a:srgbClr>
                </a:solidFill>
                <a:latin typeface="Adobe Caslon Pro Bold" panose="0205070206050A020403" pitchFamily="18" charset="0"/>
              </a:rPr>
              <a:t>TARGET ACCOUNT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211ECF-1227-D11C-74B5-8D5BD2BCD935}"/>
              </a:ext>
            </a:extLst>
          </p:cNvPr>
          <p:cNvSpPr txBox="1"/>
          <p:nvPr/>
        </p:nvSpPr>
        <p:spPr>
          <a:xfrm>
            <a:off x="3989281" y="712752"/>
            <a:ext cx="6094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200">
                <a:solidFill>
                  <a:srgbClr val="000032"/>
                </a:solidFill>
                <a:latin typeface="Calibri"/>
              </a:rPr>
              <a:t>COCKTAIL STRATEGY &amp; VARI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67F1CD-B88B-3EDA-A922-BA50CB4816F9}"/>
              </a:ext>
            </a:extLst>
          </p:cNvPr>
          <p:cNvSpPr txBox="1"/>
          <p:nvPr/>
        </p:nvSpPr>
        <p:spPr>
          <a:xfrm>
            <a:off x="978675" y="1301515"/>
            <a:ext cx="60973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>
              <a:defRPr/>
            </a:pPr>
            <a:r>
              <a:rPr lang="en-US" sz="24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73BA55-7670-C27B-8205-C43603220BBC}"/>
              </a:ext>
            </a:extLst>
          </p:cNvPr>
          <p:cNvSpPr txBox="1"/>
          <p:nvPr/>
        </p:nvSpPr>
        <p:spPr>
          <a:xfrm>
            <a:off x="6308921" y="1242482"/>
            <a:ext cx="434093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>
              <a:defRPr/>
            </a:pPr>
            <a:r>
              <a:rPr lang="en-US" sz="30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ightclub &amp; Dance Venu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341F8B-D33B-4EF1-C08C-D9EAE17837EB}"/>
              </a:ext>
            </a:extLst>
          </p:cNvPr>
          <p:cNvSpPr txBox="1"/>
          <p:nvPr/>
        </p:nvSpPr>
        <p:spPr>
          <a:xfrm>
            <a:off x="6308920" y="3966967"/>
            <a:ext cx="434093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>
              <a:defRPr/>
            </a:pPr>
            <a:r>
              <a:rPr lang="en-US" sz="30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ftops &amp; Brunch Spots</a:t>
            </a:r>
          </a:p>
        </p:txBody>
      </p:sp>
      <p:pic>
        <p:nvPicPr>
          <p:cNvPr id="11" name="Picture 8" descr="The Best 20 Places for Brunch in Los Angeles">
            <a:extLst>
              <a:ext uri="{FF2B5EF4-FFF2-40B4-BE49-F238E27FC236}">
                <a16:creationId xmlns:a16="http://schemas.microsoft.com/office/drawing/2014/main" id="{B962E80B-35AD-16E5-7C62-A679F2FC29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75"/>
          <a:stretch/>
        </p:blipFill>
        <p:spPr bwMode="auto">
          <a:xfrm>
            <a:off x="6330097" y="4512115"/>
            <a:ext cx="4326470" cy="208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E273EBA-4EDB-5DEB-C249-9928BE3BD66F}"/>
              </a:ext>
            </a:extLst>
          </p:cNvPr>
          <p:cNvSpPr txBox="1"/>
          <p:nvPr/>
        </p:nvSpPr>
        <p:spPr>
          <a:xfrm>
            <a:off x="1262397" y="1227378"/>
            <a:ext cx="486301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>
              <a:defRPr/>
            </a:pPr>
            <a:r>
              <a:rPr lang="en-US" sz="30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xican &amp; Latin Restaura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8DAA3E-4D6F-E951-639C-D7D896BBFFBB}"/>
              </a:ext>
            </a:extLst>
          </p:cNvPr>
          <p:cNvSpPr txBox="1"/>
          <p:nvPr/>
        </p:nvSpPr>
        <p:spPr>
          <a:xfrm>
            <a:off x="1583338" y="3983388"/>
            <a:ext cx="434093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>
              <a:defRPr/>
            </a:pPr>
            <a:r>
              <a:rPr lang="en-US" sz="30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ach &amp; Poolside Bars</a:t>
            </a:r>
          </a:p>
        </p:txBody>
      </p:sp>
      <p:pic>
        <p:nvPicPr>
          <p:cNvPr id="17" name="Picture 6" descr="Experience Atlanta’s Best Nightlife At These Vibrant Bars And Clubs ...">
            <a:extLst>
              <a:ext uri="{FF2B5EF4-FFF2-40B4-BE49-F238E27FC236}">
                <a16:creationId xmlns:a16="http://schemas.microsoft.com/office/drawing/2014/main" id="{ECE3B2A7-601B-C5FD-7284-E681D20D6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097" y="1748876"/>
            <a:ext cx="4326470" cy="216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Swizzle Shtick: Indy's Tiki Bars - Indianapolis Monthly">
            <a:extLst>
              <a:ext uri="{FF2B5EF4-FFF2-40B4-BE49-F238E27FC236}">
                <a16:creationId xmlns:a16="http://schemas.microsoft.com/office/drawing/2014/main" id="{E46B7A32-6D81-6F9D-F994-488931507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170" y="4512115"/>
            <a:ext cx="4326469" cy="208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Britain’s best Latin-American restaurants | Latin american restaurant ...">
            <a:extLst>
              <a:ext uri="{FF2B5EF4-FFF2-40B4-BE49-F238E27FC236}">
                <a16:creationId xmlns:a16="http://schemas.microsoft.com/office/drawing/2014/main" id="{A948EB2F-9CE9-5C65-3ADE-9AC3DCA96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338" y="1756290"/>
            <a:ext cx="4340939" cy="2158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41A3B0C-80FD-E931-C1E2-D5FBE2EDA269}"/>
              </a:ext>
            </a:extLst>
          </p:cNvPr>
          <p:cNvSpPr txBox="1"/>
          <p:nvPr/>
        </p:nvSpPr>
        <p:spPr>
          <a:xfrm>
            <a:off x="160073" y="1690836"/>
            <a:ext cx="1196851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1600" b="1" kern="100">
                <a:solidFill>
                  <a:srgbClr val="000032"/>
                </a:solidFill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assoa Margarita</a:t>
            </a:r>
          </a:p>
          <a:p>
            <a:pPr algn="ctr" defTabSz="457177"/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 defTabSz="457177"/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assoa Caipirinha</a:t>
            </a:r>
          </a:p>
          <a:p>
            <a:pPr algn="ctr" defTabSz="457177"/>
            <a:endParaRPr lang="en-US" sz="1600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assoa Mojito</a:t>
            </a:r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0533644-5EEE-23A8-9926-9FDD908EC481}"/>
              </a:ext>
            </a:extLst>
          </p:cNvPr>
          <p:cNvSpPr txBox="1"/>
          <p:nvPr/>
        </p:nvSpPr>
        <p:spPr>
          <a:xfrm>
            <a:off x="246233" y="4512115"/>
            <a:ext cx="102453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1600" b="1" kern="100">
                <a:solidFill>
                  <a:srgbClr val="000032"/>
                </a:solidFill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assoa Daiquiri </a:t>
            </a:r>
          </a:p>
          <a:p>
            <a:pPr algn="ctr" defTabSz="457177"/>
            <a:endParaRPr lang="en-US" sz="1600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 kern="1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Frozen Margarita</a:t>
            </a:r>
            <a:endParaRPr lang="en-US" sz="16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/>
            <a:endParaRPr lang="en-US" sz="16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assoa </a:t>
            </a:r>
          </a:p>
          <a:p>
            <a:pPr algn="ctr" defTabSz="457177"/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Mai Tai</a:t>
            </a:r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D8754F8-9704-67CE-7CBA-0F53549FBE84}"/>
              </a:ext>
            </a:extLst>
          </p:cNvPr>
          <p:cNvSpPr txBox="1"/>
          <p:nvPr/>
        </p:nvSpPr>
        <p:spPr>
          <a:xfrm>
            <a:off x="10833368" y="1675335"/>
            <a:ext cx="1025088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b="1" kern="100">
                <a:solidFill>
                  <a:srgbClr val="000032"/>
                </a:solidFill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orn Star Martini</a:t>
            </a:r>
          </a:p>
          <a:p>
            <a:pPr algn="ctr" defTabSz="457177"/>
            <a:endParaRPr lang="en-US" sz="1600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Electric Passoa</a:t>
            </a:r>
          </a:p>
          <a:p>
            <a:pPr algn="ctr" defTabSz="457177"/>
            <a:endParaRPr lang="en-US" sz="1600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Passoa Punch</a:t>
            </a:r>
          </a:p>
          <a:p>
            <a:pPr algn="ctr" defTabSz="457177"/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</a:p>
          <a:p>
            <a:pPr algn="ctr" defTabSz="457177"/>
            <a:endParaRPr lang="en-US" sz="1600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D154332-4FC9-3CFA-5AED-B57B87866321}"/>
              </a:ext>
            </a:extLst>
          </p:cNvPr>
          <p:cNvSpPr txBox="1"/>
          <p:nvPr/>
        </p:nvSpPr>
        <p:spPr>
          <a:xfrm>
            <a:off x="10901591" y="4512115"/>
            <a:ext cx="1025088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1600" b="1">
                <a:solidFill>
                  <a:srgbClr val="000032"/>
                </a:solidFill>
                <a:highlight>
                  <a:srgbClr val="FFFF00"/>
                </a:highlight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assoa Spritz</a:t>
            </a:r>
          </a:p>
          <a:p>
            <a:pPr algn="ctr" defTabSz="457177"/>
            <a:endParaRPr lang="en-US" sz="16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Passoa Mimosa</a:t>
            </a:r>
          </a:p>
          <a:p>
            <a:pPr algn="ctr" defTabSz="457177"/>
            <a:endParaRPr lang="en-US" sz="1600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sz="1600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assoa Bellini</a:t>
            </a:r>
          </a:p>
          <a:p>
            <a:pPr algn="ctr" defTabSz="457177"/>
            <a:endParaRPr lang="en-US" sz="16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/>
            <a:endParaRPr lang="en-US" sz="1600">
              <a:solidFill>
                <a:srgbClr val="000032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3078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3" grpId="0"/>
      <p:bldP spid="27" grpId="0"/>
      <p:bldP spid="34" grpId="0"/>
      <p:bldP spid="3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NQgjRZPmxZHfBdLgLw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BOLS">
  <a:themeElements>
    <a:clrScheme name="Lucas Bols Template">
      <a:dk1>
        <a:srgbClr val="000032"/>
      </a:dk1>
      <a:lt1>
        <a:srgbClr val="FFFFFF"/>
      </a:lt1>
      <a:dk2>
        <a:srgbClr val="C3CED9"/>
      </a:dk2>
      <a:lt2>
        <a:srgbClr val="FF453A"/>
      </a:lt2>
      <a:accent1>
        <a:srgbClr val="00D441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3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dobe Caslon Pro Bold</vt:lpstr>
      <vt:lpstr>Aptos</vt:lpstr>
      <vt:lpstr>Arial</vt:lpstr>
      <vt:lpstr>Calibri</vt:lpstr>
      <vt:lpstr>Helvetica Neue LT Pro 53 Extend</vt:lpstr>
      <vt:lpstr>HelveticaNeueLT Pro 53 Ex</vt:lpstr>
      <vt:lpstr>HelveticaNeueLT Pro 63 MdEx</vt:lpstr>
      <vt:lpstr>6_BOL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</cp:revision>
  <dcterms:created xsi:type="dcterms:W3CDTF">2025-08-27T17:28:51Z</dcterms:created>
  <dcterms:modified xsi:type="dcterms:W3CDTF">2025-08-27T17:29:09Z</dcterms:modified>
</cp:coreProperties>
</file>